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CBC8"/>
    <a:srgbClr val="FC5675"/>
    <a:srgbClr val="FFE6E5"/>
    <a:srgbClr val="FF5579"/>
    <a:srgbClr val="FE55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67" d="100"/>
          <a:sy n="67" d="100"/>
        </p:scale>
        <p:origin x="248" y="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85FB8E-42C6-473C-8DA1-5721E7177D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CA0E232-FA81-4693-8B3F-A93D1C34B9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BDD49B-9E66-4070-964E-2FBACC64F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077A79-A248-40C7-BE81-DE9A6A7C1DBE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2B43DF-323D-4D07-B52D-8121BBE8D6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1B5850F-AC57-4423-8AAE-4954CA2D1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700AF-0CA4-4A1C-B559-206A3C7F8BE0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85905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C0E83B-2090-4A89-BFF1-91D5F8985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9AD000D3-F8C6-4F28-ACBF-6B7DE2067F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1B2601B-F827-4712-8B11-3255EE395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077A79-A248-40C7-BE81-DE9A6A7C1DBE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32A8517-454B-48FB-BD4A-B4E43BBD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66118E1-19C4-42D9-BC95-0DBBC93E4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700AF-0CA4-4A1C-B559-206A3C7F8BE0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17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EFC703D9-8DC6-444C-AE58-0EAD3064FA5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20228A65-A043-4CE2-B926-0E841F2B26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B959CD1-AF46-4E7A-8285-593EE62671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077A79-A248-40C7-BE81-DE9A6A7C1DBE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4DDF384-49D6-43DA-8B62-381887DB26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30CA4A3-DC7F-42A3-98DF-C67E37196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700AF-0CA4-4A1C-B559-206A3C7F8BE0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47697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FF1208-CF69-47B0-B48F-44474FC93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0E635F4-22F3-4A0C-A2E9-B91E32D5DC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7B8AFA6-EDC4-4C67-A0BB-E6F0A153EC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077A79-A248-40C7-BE81-DE9A6A7C1DBE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FEA248-2269-48B8-8AA0-FF1467274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0102A4-079F-4B18-B32E-8218B64163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700AF-0CA4-4A1C-B559-206A3C7F8BE0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11934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9642EA-F1D8-46C0-810A-142D42CEFB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1B1B5CA-4FE0-419E-900C-56152AA5AA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84FA51F-2B8D-4E09-B033-FBE79982E5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077A79-A248-40C7-BE81-DE9A6A7C1DBE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81FCF32-D84F-4FBA-8BE6-21AEE71095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217A61-666B-4929-BC39-A600ABBDA0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700AF-0CA4-4A1C-B559-206A3C7F8BE0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2459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20E9B9-D6B8-4364-A84F-3E39CDD49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A1621AF-2B89-4E71-A4F8-15FE00F0F8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F767546-59D3-49EE-A107-E2E7AA7D71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4B5B28A-D3FD-48C4-8C8E-A88D73253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077A79-A248-40C7-BE81-DE9A6A7C1DBE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3385C4C-B566-47E9-9EA4-06712FE50B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34EC979-BA18-413D-9F99-D2D7FA237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700AF-0CA4-4A1C-B559-206A3C7F8BE0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691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27D91E-C412-4408-9DB0-9BDB0806D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4829732-0701-4651-B4EE-357E260A36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747FFF5-0848-4175-AA8F-58D4BB2327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AFF5A3B-B7C4-4F29-A634-B86361DDA8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6327858-4DEC-4208-8C8F-B557D0ACC34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86837CC-C439-4676-B176-73593488E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077A79-A248-40C7-BE81-DE9A6A7C1DBE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D5962CC-D09F-462E-96D0-179D2BD8B9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38F51BC-843A-4320-B9DF-72B5F05EE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700AF-0CA4-4A1C-B559-206A3C7F8BE0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3518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FB86EC-D916-415A-ABD9-C5CA2A826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5465ADC-98A7-40A0-8DFC-B4B1D0F3F7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077A79-A248-40C7-BE81-DE9A6A7C1DBE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4562F06-6139-46F7-9FEB-C31D43C1E6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2ADE0E-03C3-494B-88AB-25A5CADD23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700AF-0CA4-4A1C-B559-206A3C7F8BE0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25593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B997D51-6ADB-4E5F-B991-2AA7984C1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077A79-A248-40C7-BE81-DE9A6A7C1DBE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A885294-99D6-4091-85B2-E5DAB47C29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7755700-8327-4111-9254-968AA188D0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700AF-0CA4-4A1C-B559-206A3C7F8BE0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06033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4DCDC6-2E62-4B65-91C1-13650BF36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ECD60D9-0431-43A9-9BA3-DE68CBF84A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FC46F7E-5D96-4C64-9E7D-F12ED064CF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02D6C92-11CA-4DFD-A343-4DFEDC2DA2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077A79-A248-40C7-BE81-DE9A6A7C1DBE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2BD8380-A73D-4FBA-8183-A76D7017C3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D8BE890-E5C1-4324-8257-99C2117060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700AF-0CA4-4A1C-B559-206A3C7F8BE0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04940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1B937F-6144-45E4-9A0E-75AE77FE75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F0A8997-F2AD-41AF-B7B1-6C1011DF1DB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04C49EA-21E0-4D5F-B2DE-E788BA4792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1678676-5D53-4B8A-A9C8-678516B9C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077A79-A248-40C7-BE81-DE9A6A7C1DBE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A1ED4BC-A95E-4366-B0EA-1D957A7BC9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2DCFCF9-F367-4229-8E90-90B45A0F40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700AF-0CA4-4A1C-B559-206A3C7F8BE0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68808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6CDDFBE-6173-4165-92C2-94896CC94D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09816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Folie" r:id="rId16" imgW="395" imgH="396" progId="TCLayout.ActiveDocument.1">
                  <p:embed/>
                </p:oleObj>
              </mc:Choice>
              <mc:Fallback>
                <p:oleObj name="think-cell Folie" r:id="rId1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60358E70-0F06-4279-8B27-38159B3655B6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94B2F16-8BE5-4D2B-9A79-7FD97ED735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CD71E8-CC13-4750-B910-BF91F145A4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B1D1BD3-E725-4EE7-A89A-CE77C75F64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077A79-A248-40C7-BE81-DE9A6A7C1DBE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767490-51A5-4623-B61B-80437E8084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023C763-1A30-47D2-9451-722E68496D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3700AF-0CA4-4A1C-B559-206A3C7F8BE0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4688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11" Type="http://schemas.openxmlformats.org/officeDocument/2006/relationships/image" Target="../media/image7.sv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2655B46-14AC-4D6F-AFB4-C0E48E454E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2083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711B5223-4382-42C4-99FF-5FF9BDCF180D}"/>
              </a:ext>
            </a:extLst>
          </p:cNvPr>
          <p:cNvSpPr/>
          <p:nvPr/>
        </p:nvSpPr>
        <p:spPr>
          <a:xfrm>
            <a:off x="112659" y="4878404"/>
            <a:ext cx="2123649" cy="1438910"/>
          </a:xfrm>
          <a:prstGeom prst="roundRect">
            <a:avLst>
              <a:gd name="adj" fmla="val 20493"/>
            </a:avLst>
          </a:prstGeom>
          <a:solidFill>
            <a:srgbClr val="FECBC8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lvl="1"/>
            <a:endParaRPr 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lvl="1"/>
            <a:endParaRPr 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lvl="1"/>
            <a:r>
              <a:rPr lang="de-DE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Bitter" panose="02000000000000000000" pitchFamily="2" charset="0"/>
              </a:rPr>
              <a:t>#</a:t>
            </a:r>
            <a:r>
              <a:rPr lang="de-DE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Bitter" panose="02000000000000000000" pitchFamily="2" charset="0"/>
              </a:rPr>
              <a:t>stayhome</a:t>
            </a:r>
            <a:endParaRPr lang="de-DE" sz="1600" dirty="0">
              <a:solidFill>
                <a:schemeClr val="tx1">
                  <a:lumMod val="75000"/>
                  <a:lumOff val="25000"/>
                </a:schemeClr>
              </a:solidFill>
              <a:latin typeface="Bitter" panose="02000000000000000000" pitchFamily="2" charset="0"/>
            </a:endParaRP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D101D1DE-9C63-4428-B766-F269C03F6A04}"/>
              </a:ext>
            </a:extLst>
          </p:cNvPr>
          <p:cNvSpPr/>
          <p:nvPr/>
        </p:nvSpPr>
        <p:spPr>
          <a:xfrm>
            <a:off x="5024645" y="246592"/>
            <a:ext cx="2007377" cy="1438910"/>
          </a:xfrm>
          <a:prstGeom prst="roundRect">
            <a:avLst/>
          </a:prstGeom>
          <a:solidFill>
            <a:srgbClr val="FECBC8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lvl="1"/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Bitter" panose="02000000000000000000" pitchFamily="2" charset="0"/>
              </a:rPr>
              <a:t>    Locals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9BE804B-7BD6-409B-8323-259A73BBDD82}"/>
              </a:ext>
            </a:extLst>
          </p:cNvPr>
          <p:cNvSpPr txBox="1"/>
          <p:nvPr/>
        </p:nvSpPr>
        <p:spPr>
          <a:xfrm rot="19880234">
            <a:off x="1900422" y="3777881"/>
            <a:ext cx="23778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1) </a:t>
            </a:r>
            <a:r>
              <a:rPr lang="en-GB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Erstellt</a:t>
            </a: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 </a:t>
            </a:r>
            <a:r>
              <a:rPr lang="en-GB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Bedarfsliste</a:t>
            </a: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282F52A3-BAC6-4BD9-AF02-B77580F59313}"/>
              </a:ext>
            </a:extLst>
          </p:cNvPr>
          <p:cNvSpPr txBox="1"/>
          <p:nvPr/>
        </p:nvSpPr>
        <p:spPr>
          <a:xfrm>
            <a:off x="4070082" y="2103972"/>
            <a:ext cx="17809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defRPr>
            </a:lvl1pPr>
          </a:lstStyle>
          <a:p>
            <a:pPr algn="r"/>
            <a:r>
              <a:rPr lang="en-GB" dirty="0"/>
              <a:t>2) </a:t>
            </a:r>
            <a:r>
              <a:rPr lang="en-GB" dirty="0" err="1"/>
              <a:t>Vermittelt</a:t>
            </a:r>
            <a:r>
              <a:rPr lang="en-GB" dirty="0"/>
              <a:t> </a:t>
            </a:r>
            <a:r>
              <a:rPr lang="en-GB" dirty="0" err="1"/>
              <a:t>lokale</a:t>
            </a:r>
            <a:r>
              <a:rPr lang="en-GB" dirty="0"/>
              <a:t> </a:t>
            </a:r>
            <a:r>
              <a:rPr lang="en-GB" dirty="0" err="1"/>
              <a:t>Bedarfe</a:t>
            </a:r>
            <a:endParaRPr lang="en-GB" dirty="0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F0FE7E11-A227-48B2-BF8D-ADEC20E88852}"/>
              </a:ext>
            </a:extLst>
          </p:cNvPr>
          <p:cNvSpPr txBox="1"/>
          <p:nvPr/>
        </p:nvSpPr>
        <p:spPr>
          <a:xfrm>
            <a:off x="6267938" y="2103972"/>
            <a:ext cx="16661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3) </a:t>
            </a:r>
            <a:r>
              <a:rPr lang="en-GB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Erstellt</a:t>
            </a: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 </a:t>
            </a:r>
          </a:p>
          <a:p>
            <a:r>
              <a:rPr lang="en-GB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Angebot</a:t>
            </a: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F3EF4964-4BAE-4785-BB27-EAA44F86C290}"/>
              </a:ext>
            </a:extLst>
          </p:cNvPr>
          <p:cNvSpPr txBox="1"/>
          <p:nvPr/>
        </p:nvSpPr>
        <p:spPr>
          <a:xfrm rot="19835236">
            <a:off x="2136325" y="4235680"/>
            <a:ext cx="22129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400"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defRPr>
            </a:lvl1pPr>
          </a:lstStyle>
          <a:p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) </a:t>
            </a:r>
            <a:r>
              <a:rPr lang="en-GB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ermittelt</a:t>
            </a: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GB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ngebot</a:t>
            </a:r>
            <a:endParaRPr lang="en-GB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BB98AAC-F257-4AB9-96D8-D623BBE3CA15}"/>
              </a:ext>
            </a:extLst>
          </p:cNvPr>
          <p:cNvSpPr txBox="1"/>
          <p:nvPr/>
        </p:nvSpPr>
        <p:spPr>
          <a:xfrm rot="19872708">
            <a:off x="2337300" y="4597035"/>
            <a:ext cx="23220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5) </a:t>
            </a:r>
            <a:r>
              <a:rPr lang="en-GB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Nimmt</a:t>
            </a: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 </a:t>
            </a:r>
            <a:r>
              <a:rPr lang="en-GB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Angebot</a:t>
            </a: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 an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302D619B-614B-4798-A9AB-02AB5931260B}"/>
              </a:ext>
            </a:extLst>
          </p:cNvPr>
          <p:cNvSpPr txBox="1"/>
          <p:nvPr/>
        </p:nvSpPr>
        <p:spPr>
          <a:xfrm rot="1756792">
            <a:off x="7898797" y="4589540"/>
            <a:ext cx="20508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7) </a:t>
            </a:r>
            <a:r>
              <a:rPr lang="en-GB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Nimmt</a:t>
            </a: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 </a:t>
            </a:r>
            <a:r>
              <a:rPr lang="en-GB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Auftrag</a:t>
            </a: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 an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1FE1DD38-0A34-4706-8EE1-17B83E8C8832}"/>
              </a:ext>
            </a:extLst>
          </p:cNvPr>
          <p:cNvSpPr txBox="1"/>
          <p:nvPr/>
        </p:nvSpPr>
        <p:spPr>
          <a:xfrm rot="2676885">
            <a:off x="8138160" y="2454555"/>
            <a:ext cx="20293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8) </a:t>
            </a:r>
            <a:r>
              <a:rPr lang="en-GB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Stellt</a:t>
            </a: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 Ware </a:t>
            </a:r>
            <a:r>
              <a:rPr lang="en-GB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bereit</a:t>
            </a: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FCBD74F5-EDDB-42F0-9AEA-E661B20DA34E}"/>
              </a:ext>
            </a:extLst>
          </p:cNvPr>
          <p:cNvSpPr txBox="1"/>
          <p:nvPr/>
        </p:nvSpPr>
        <p:spPr>
          <a:xfrm>
            <a:off x="5120817" y="5396507"/>
            <a:ext cx="20542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10) </a:t>
            </a:r>
            <a:r>
              <a:rPr lang="en-GB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Liefert</a:t>
            </a: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 Ware </a:t>
            </a:r>
            <a:r>
              <a:rPr lang="en-GB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aus</a:t>
            </a: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B2E039D-3A51-49D1-BFFF-A2F782BB6774}"/>
              </a:ext>
            </a:extLst>
          </p:cNvPr>
          <p:cNvGrpSpPr/>
          <p:nvPr/>
        </p:nvGrpSpPr>
        <p:grpSpPr>
          <a:xfrm>
            <a:off x="4181842" y="3118364"/>
            <a:ext cx="3692983" cy="1141387"/>
            <a:chOff x="4300783" y="2702448"/>
            <a:chExt cx="3692983" cy="1141387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5F57412B-2960-4A3D-B1E9-DFBA7784A40A}"/>
                </a:ext>
              </a:extLst>
            </p:cNvPr>
            <p:cNvSpPr/>
            <p:nvPr/>
          </p:nvSpPr>
          <p:spPr>
            <a:xfrm>
              <a:off x="4300783" y="2702448"/>
              <a:ext cx="3692983" cy="1141387"/>
            </a:xfrm>
            <a:prstGeom prst="roundRect">
              <a:avLst/>
            </a:prstGeom>
            <a:solidFill>
              <a:srgbClr val="FECBC8"/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90000" rIns="90000" bIns="90000" rtlCol="0" anchor="t"/>
            <a:lstStyle/>
            <a:p>
              <a:pPr lvl="1"/>
              <a:endParaRPr lang="de-DE" dirty="0">
                <a:solidFill>
                  <a:schemeClr val="tx1">
                    <a:lumMod val="75000"/>
                    <a:lumOff val="25000"/>
                  </a:schemeClr>
                </a:solidFill>
                <a:latin typeface="Sitka Small" panose="02000505000000020004" pitchFamily="2" charset="0"/>
              </a:endParaRPr>
            </a:p>
            <a:p>
              <a:pPr lvl="1"/>
              <a:endParaRPr lang="de-DE" dirty="0">
                <a:solidFill>
                  <a:schemeClr val="tx1">
                    <a:lumMod val="75000"/>
                    <a:lumOff val="25000"/>
                  </a:schemeClr>
                </a:solidFill>
                <a:latin typeface="Sitka Small" panose="02000505000000020004" pitchFamily="2" charset="0"/>
              </a:endParaRPr>
            </a:p>
            <a:p>
              <a:pPr lvl="1"/>
              <a:r>
                <a:rPr lang="de-DE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itter" panose="02000000000000000000" pitchFamily="2" charset="0"/>
                </a:rPr>
                <a:t>  DeinLaufbursche</a:t>
              </a:r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566E8BE5-9485-47BC-ADB7-525E3E612D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7644" t="11166" r="21750" b="37796"/>
            <a:stretch/>
          </p:blipFill>
          <p:spPr>
            <a:xfrm>
              <a:off x="6969101" y="2832242"/>
              <a:ext cx="851250" cy="962196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" name="Grafik 1">
              <a:extLst>
                <a:ext uri="{FF2B5EF4-FFF2-40B4-BE49-F238E27FC236}">
                  <a16:creationId xmlns:a16="http://schemas.microsoft.com/office/drawing/2014/main" id="{B26CF29C-D865-4B9D-B9A2-2976FE3F4E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4641" t="15998" r="14238" b="14403"/>
            <a:stretch/>
          </p:blipFill>
          <p:spPr>
            <a:xfrm>
              <a:off x="4539365" y="2974421"/>
              <a:ext cx="375285" cy="367257"/>
            </a:xfrm>
            <a:prstGeom prst="rect">
              <a:avLst/>
            </a:prstGeom>
            <a:solidFill>
              <a:srgbClr val="FECBC8"/>
            </a:solidFill>
            <a:ln>
              <a:noFill/>
            </a:ln>
          </p:spPr>
        </p:pic>
      </p:grpSp>
      <p:sp>
        <p:nvSpPr>
          <p:cNvPr id="36" name="Rechteck: abgerundete Ecken 35">
            <a:extLst>
              <a:ext uri="{FF2B5EF4-FFF2-40B4-BE49-F238E27FC236}">
                <a16:creationId xmlns:a16="http://schemas.microsoft.com/office/drawing/2014/main" id="{3849CB0B-2C61-4D61-B37E-19B6824D33C0}"/>
              </a:ext>
            </a:extLst>
          </p:cNvPr>
          <p:cNvSpPr/>
          <p:nvPr/>
        </p:nvSpPr>
        <p:spPr>
          <a:xfrm>
            <a:off x="9959116" y="4863866"/>
            <a:ext cx="2123649" cy="1438910"/>
          </a:xfrm>
          <a:prstGeom prst="roundRect">
            <a:avLst/>
          </a:prstGeom>
          <a:solidFill>
            <a:srgbClr val="FECBC8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lvl="1"/>
            <a:r>
              <a:rPr lang="en-GB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Bitter" panose="02000000000000000000" pitchFamily="2" charset="0"/>
              </a:rPr>
              <a:t>Laufbursche</a:t>
            </a:r>
            <a:endParaRPr lang="en-GB" sz="1600" dirty="0">
              <a:solidFill>
                <a:schemeClr val="tx1">
                  <a:lumMod val="75000"/>
                  <a:lumOff val="25000"/>
                </a:schemeClr>
              </a:solidFill>
              <a:latin typeface="Bitter" panose="02000000000000000000" pitchFamily="2" charset="0"/>
            </a:endParaRP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DF762A7B-39E8-434C-A648-3A44FFAEAC39}"/>
              </a:ext>
            </a:extLst>
          </p:cNvPr>
          <p:cNvCxnSpPr>
            <a:cxnSpLocks/>
          </p:cNvCxnSpPr>
          <p:nvPr/>
        </p:nvCxnSpPr>
        <p:spPr>
          <a:xfrm flipV="1">
            <a:off x="2007054" y="3653374"/>
            <a:ext cx="2003767" cy="1110868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94A909C1-AD6C-4339-9DCC-E03C88B051EE}"/>
              </a:ext>
            </a:extLst>
          </p:cNvPr>
          <p:cNvCxnSpPr>
            <a:cxnSpLocks/>
          </p:cNvCxnSpPr>
          <p:nvPr/>
        </p:nvCxnSpPr>
        <p:spPr>
          <a:xfrm flipV="1">
            <a:off x="5893526" y="1786266"/>
            <a:ext cx="0" cy="1224003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35EAB128-78D5-4FF1-BC47-14EE363F953F}"/>
              </a:ext>
            </a:extLst>
          </p:cNvPr>
          <p:cNvCxnSpPr>
            <a:cxnSpLocks/>
          </p:cNvCxnSpPr>
          <p:nvPr/>
        </p:nvCxnSpPr>
        <p:spPr>
          <a:xfrm>
            <a:off x="6220494" y="1800852"/>
            <a:ext cx="0" cy="1224003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5BB592B-9C29-44E2-80C5-C874BB987607}"/>
              </a:ext>
            </a:extLst>
          </p:cNvPr>
          <p:cNvCxnSpPr>
            <a:cxnSpLocks/>
          </p:cNvCxnSpPr>
          <p:nvPr/>
        </p:nvCxnSpPr>
        <p:spPr>
          <a:xfrm flipH="1">
            <a:off x="2277663" y="4127479"/>
            <a:ext cx="1823754" cy="995664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C7CCC4FD-F075-478E-9D80-6A17DD98033A}"/>
              </a:ext>
            </a:extLst>
          </p:cNvPr>
          <p:cNvCxnSpPr>
            <a:cxnSpLocks/>
          </p:cNvCxnSpPr>
          <p:nvPr/>
        </p:nvCxnSpPr>
        <p:spPr>
          <a:xfrm flipV="1">
            <a:off x="2393016" y="4450587"/>
            <a:ext cx="2057192" cy="1107130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FA8A7BD3-FCC4-487F-9460-9383FCE8D1C9}"/>
              </a:ext>
            </a:extLst>
          </p:cNvPr>
          <p:cNvCxnSpPr>
            <a:cxnSpLocks/>
          </p:cNvCxnSpPr>
          <p:nvPr/>
        </p:nvCxnSpPr>
        <p:spPr>
          <a:xfrm flipH="1" flipV="1">
            <a:off x="7845070" y="4365292"/>
            <a:ext cx="1972112" cy="1098927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C228E0A7-7527-4DB6-A3F1-D199983521CB}"/>
              </a:ext>
            </a:extLst>
          </p:cNvPr>
          <p:cNvCxnSpPr>
            <a:cxnSpLocks/>
          </p:cNvCxnSpPr>
          <p:nvPr/>
        </p:nvCxnSpPr>
        <p:spPr>
          <a:xfrm>
            <a:off x="7934075" y="3908556"/>
            <a:ext cx="1995201" cy="1100746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E355DE5D-34F5-43DA-BCC2-67BB2AA8EE82}"/>
              </a:ext>
            </a:extLst>
          </p:cNvPr>
          <p:cNvCxnSpPr>
            <a:cxnSpLocks/>
          </p:cNvCxnSpPr>
          <p:nvPr/>
        </p:nvCxnSpPr>
        <p:spPr>
          <a:xfrm>
            <a:off x="7215401" y="966047"/>
            <a:ext cx="3781693" cy="3777381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150081E0-6B27-47C2-A97D-6B196BDAE182}"/>
              </a:ext>
            </a:extLst>
          </p:cNvPr>
          <p:cNvCxnSpPr>
            <a:cxnSpLocks/>
          </p:cNvCxnSpPr>
          <p:nvPr/>
        </p:nvCxnSpPr>
        <p:spPr>
          <a:xfrm flipH="1" flipV="1">
            <a:off x="7467717" y="633401"/>
            <a:ext cx="3986577" cy="3999675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feld 62">
            <a:extLst>
              <a:ext uri="{FF2B5EF4-FFF2-40B4-BE49-F238E27FC236}">
                <a16:creationId xmlns:a16="http://schemas.microsoft.com/office/drawing/2014/main" id="{56F6F608-57F0-48FF-8FC9-C30E728148C5}"/>
              </a:ext>
            </a:extLst>
          </p:cNvPr>
          <p:cNvSpPr txBox="1"/>
          <p:nvPr/>
        </p:nvSpPr>
        <p:spPr>
          <a:xfrm rot="2676885">
            <a:off x="8138762" y="2142341"/>
            <a:ext cx="25653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9) Holt Ware ab und </a:t>
            </a:r>
            <a:r>
              <a:rPr lang="en-GB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bezahlt</a:t>
            </a: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B844B799-8348-4271-BA25-1591CB65042A}"/>
              </a:ext>
            </a:extLst>
          </p:cNvPr>
          <p:cNvSpPr txBox="1"/>
          <p:nvPr/>
        </p:nvSpPr>
        <p:spPr>
          <a:xfrm rot="1736551">
            <a:off x="7695425" y="4215149"/>
            <a:ext cx="29581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6) </a:t>
            </a:r>
            <a:r>
              <a:rPr lang="en-GB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Vermittelt</a:t>
            </a: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 </a:t>
            </a:r>
            <a:r>
              <a:rPr lang="en-GB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lokale</a:t>
            </a: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 </a:t>
            </a:r>
            <a:r>
              <a:rPr lang="en-GB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Aufträge</a:t>
            </a: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93F12BFD-E0CC-4D55-8B1D-76DC1D217DC5}"/>
              </a:ext>
            </a:extLst>
          </p:cNvPr>
          <p:cNvCxnSpPr>
            <a:cxnSpLocks/>
          </p:cNvCxnSpPr>
          <p:nvPr/>
        </p:nvCxnSpPr>
        <p:spPr>
          <a:xfrm>
            <a:off x="2457970" y="6118164"/>
            <a:ext cx="7328558" cy="30420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feld 67">
            <a:extLst>
              <a:ext uri="{FF2B5EF4-FFF2-40B4-BE49-F238E27FC236}">
                <a16:creationId xmlns:a16="http://schemas.microsoft.com/office/drawing/2014/main" id="{F1225643-67FD-42F8-AFDB-52BFE4D52EC9}"/>
              </a:ext>
            </a:extLst>
          </p:cNvPr>
          <p:cNvSpPr txBox="1"/>
          <p:nvPr/>
        </p:nvSpPr>
        <p:spPr>
          <a:xfrm>
            <a:off x="4589951" y="5810387"/>
            <a:ext cx="24239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defRPr>
            </a:lvl1pPr>
          </a:lstStyle>
          <a:p>
            <a:pPr algn="r"/>
            <a:r>
              <a:rPr lang="en-GB" dirty="0"/>
              <a:t>11) </a:t>
            </a:r>
            <a:r>
              <a:rPr lang="en-GB" dirty="0" err="1"/>
              <a:t>Bezahlt</a:t>
            </a:r>
            <a:r>
              <a:rPr lang="en-GB" dirty="0"/>
              <a:t> </a:t>
            </a:r>
            <a:r>
              <a:rPr lang="en-GB" dirty="0" err="1"/>
              <a:t>Lieferung</a:t>
            </a:r>
            <a:endParaRPr lang="en-GB" dirty="0"/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FF5BFADF-E52C-4D18-989F-817AB28CD865}"/>
              </a:ext>
            </a:extLst>
          </p:cNvPr>
          <p:cNvCxnSpPr>
            <a:cxnSpLocks/>
          </p:cNvCxnSpPr>
          <p:nvPr/>
        </p:nvCxnSpPr>
        <p:spPr>
          <a:xfrm rot="10800000">
            <a:off x="2457970" y="5730093"/>
            <a:ext cx="7328558" cy="30420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: abgerundete Ecken 74">
            <a:extLst>
              <a:ext uri="{FF2B5EF4-FFF2-40B4-BE49-F238E27FC236}">
                <a16:creationId xmlns:a16="http://schemas.microsoft.com/office/drawing/2014/main" id="{FA5EF7A6-A5C5-40FA-BA35-DB354199F0E5}"/>
              </a:ext>
            </a:extLst>
          </p:cNvPr>
          <p:cNvSpPr/>
          <p:nvPr/>
        </p:nvSpPr>
        <p:spPr>
          <a:xfrm>
            <a:off x="112659" y="259232"/>
            <a:ext cx="3957423" cy="914401"/>
          </a:xfrm>
          <a:prstGeom prst="roundRect">
            <a:avLst/>
          </a:prstGeom>
          <a:solidFill>
            <a:srgbClr val="FECBC8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ctr"/>
          <a:lstStyle/>
          <a:p>
            <a:pPr lvl="1"/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  <a:latin typeface="Bitter" panose="02000000000000000000" pitchFamily="2" charset="0"/>
              </a:rPr>
              <a:t>Keep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Bitter" panose="02000000000000000000" pitchFamily="2" charset="0"/>
              </a:rPr>
              <a:t>locals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  <a:latin typeface="Bitter" panose="02000000000000000000" pitchFamily="2" charset="0"/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Bitter" panose="02000000000000000000" pitchFamily="2" charset="0"/>
              </a:rPr>
              <a:t>running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  <a:latin typeface="Bitter" panose="02000000000000000000" pitchFamily="2" charset="0"/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Bitter" panose="02000000000000000000" pitchFamily="2" charset="0"/>
              </a:rPr>
              <a:t>while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  <a:latin typeface="Bitter" panose="02000000000000000000" pitchFamily="2" charset="0"/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Bitter" panose="02000000000000000000" pitchFamily="2" charset="0"/>
              </a:rPr>
              <a:t>staying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  <a:latin typeface="Bitter" panose="02000000000000000000" pitchFamily="2" charset="0"/>
              </a:rPr>
              <a:t> at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Bitter" panose="02000000000000000000" pitchFamily="2" charset="0"/>
              </a:rPr>
              <a:t>home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  <a:latin typeface="Bitter" panose="02000000000000000000" pitchFamily="2" charset="0"/>
              </a:rPr>
              <a:t>!</a:t>
            </a:r>
          </a:p>
        </p:txBody>
      </p:sp>
      <p:pic>
        <p:nvPicPr>
          <p:cNvPr id="76" name="Grafik 75">
            <a:extLst>
              <a:ext uri="{FF2B5EF4-FFF2-40B4-BE49-F238E27FC236}">
                <a16:creationId xmlns:a16="http://schemas.microsoft.com/office/drawing/2014/main" id="{2347690C-09AA-4836-9015-B39336C0CE1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34607" y="5023036"/>
            <a:ext cx="1282696" cy="962022"/>
          </a:xfrm>
          <a:prstGeom prst="rect">
            <a:avLst/>
          </a:prstGeom>
        </p:spPr>
      </p:pic>
      <p:pic>
        <p:nvPicPr>
          <p:cNvPr id="77" name="Grafik 76">
            <a:extLst>
              <a:ext uri="{FF2B5EF4-FFF2-40B4-BE49-F238E27FC236}">
                <a16:creationId xmlns:a16="http://schemas.microsoft.com/office/drawing/2014/main" id="{60EDD8AA-6DC7-4A64-AEC4-E3AD8646348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487234" y="5040800"/>
            <a:ext cx="1235325" cy="926494"/>
          </a:xfrm>
          <a:prstGeom prst="rect">
            <a:avLst/>
          </a:prstGeom>
        </p:spPr>
      </p:pic>
      <p:pic>
        <p:nvPicPr>
          <p:cNvPr id="78" name="Grafik 77">
            <a:extLst>
              <a:ext uri="{FF2B5EF4-FFF2-40B4-BE49-F238E27FC236}">
                <a16:creationId xmlns:a16="http://schemas.microsoft.com/office/drawing/2014/main" id="{CB6B8234-1B94-40FC-A67F-77677B3791E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283509" y="308546"/>
            <a:ext cx="1468742" cy="1101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789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SRv3SIPsg3AtUITh76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8</Words>
  <Application>Microsoft Office PowerPoint</Application>
  <PresentationFormat>Breitbild</PresentationFormat>
  <Paragraphs>21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rial</vt:lpstr>
      <vt:lpstr>Bitter</vt:lpstr>
      <vt:lpstr>Calibri</vt:lpstr>
      <vt:lpstr>Calibri Light</vt:lpstr>
      <vt:lpstr>Inter</vt:lpstr>
      <vt:lpstr>Sitka Small</vt:lpstr>
      <vt:lpstr>Office</vt:lpstr>
      <vt:lpstr>think-cell Fol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lexander</dc:creator>
  <cp:lastModifiedBy>Melanie Johanning</cp:lastModifiedBy>
  <cp:revision>15</cp:revision>
  <dcterms:created xsi:type="dcterms:W3CDTF">2020-03-22T13:14:34Z</dcterms:created>
  <dcterms:modified xsi:type="dcterms:W3CDTF">2020-03-22T15:20:28Z</dcterms:modified>
</cp:coreProperties>
</file>